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6"/>
  </p:notesMasterIdLst>
  <p:sldIdLst>
    <p:sldId id="267" r:id="rId2"/>
    <p:sldId id="269" r:id="rId3"/>
    <p:sldId id="268" r:id="rId4"/>
    <p:sldId id="264" r:id="rId5"/>
  </p:sldIdLst>
  <p:sldSz cx="9144000" cy="5143500" type="screen16x9"/>
  <p:notesSz cx="6858000" cy="9144000"/>
  <p:embeddedFontLst>
    <p:embeddedFont>
      <p:font typeface="Open Sans" panose="020B0606030504020204" pitchFamily="34" charset="0"/>
      <p:regular r:id="rId7"/>
      <p:bold r:id="rId8"/>
      <p:italic r:id="rId9"/>
      <p:boldItalic r:id="rId10"/>
    </p:embeddedFont>
  </p:embeddedFontLst>
  <p:custDataLst>
    <p:tags r:id="rId1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 showGuides="1">
      <p:cViewPr varScale="1">
        <p:scale>
          <a:sx n="161" d="100"/>
          <a:sy n="161" d="100"/>
        </p:scale>
        <p:origin x="784" y="20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keyu/Development/udacity/udacity_band_p4/exported_da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keyu/Development/udacity/udacity_band_p4/exported_dat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keyu/Development/udacity/udacity_band_p4/exported_dat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Product</a:t>
            </a:r>
            <a:r>
              <a:rPr lang="zh-CN" altLang="en-US" dirty="0"/>
              <a:t> </a:t>
            </a:r>
            <a:r>
              <a:rPr lang="en-US" altLang="zh-CN" dirty="0"/>
              <a:t>Category</a:t>
            </a:r>
            <a:r>
              <a:rPr lang="zh-CN" altLang="en-US" baseline="0" dirty="0"/>
              <a:t> </a:t>
            </a:r>
            <a:r>
              <a:rPr lang="en-US" altLang="zh-CN" baseline="0" dirty="0"/>
              <a:t>Order</a:t>
            </a:r>
            <a:r>
              <a:rPr lang="zh-CN" altLang="en-US" baseline="0" dirty="0"/>
              <a:t> </a:t>
            </a:r>
            <a:r>
              <a:rPr lang="en-US" altLang="zh-CN" baseline="0" dirty="0"/>
              <a:t>Amount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product_categories!$B$1</c:f>
              <c:strCache>
                <c:ptCount val="1"/>
                <c:pt idx="0">
                  <c:v>﻿OrderCou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oduct_categories!$A$2:$A$9</c:f>
              <c:strCache>
                <c:ptCount val="8"/>
                <c:pt idx="0">
                  <c:v>Beverages</c:v>
                </c:pt>
                <c:pt idx="1">
                  <c:v>Dairy Products</c:v>
                </c:pt>
                <c:pt idx="2">
                  <c:v>Confections</c:v>
                </c:pt>
                <c:pt idx="3">
                  <c:v>Seafood</c:v>
                </c:pt>
                <c:pt idx="4">
                  <c:v>Condiments</c:v>
                </c:pt>
                <c:pt idx="5">
                  <c:v>Grains/Cereals</c:v>
                </c:pt>
                <c:pt idx="6">
                  <c:v>Meat/Poultry</c:v>
                </c:pt>
                <c:pt idx="7">
                  <c:v>Produce</c:v>
                </c:pt>
              </c:strCache>
            </c:strRef>
          </c:cat>
          <c:val>
            <c:numRef>
              <c:f>product_categories!$B$2:$B$9</c:f>
              <c:numCache>
                <c:formatCode>General</c:formatCode>
                <c:ptCount val="8"/>
                <c:pt idx="0">
                  <c:v>404</c:v>
                </c:pt>
                <c:pt idx="1">
                  <c:v>366</c:v>
                </c:pt>
                <c:pt idx="2">
                  <c:v>334</c:v>
                </c:pt>
                <c:pt idx="3">
                  <c:v>330</c:v>
                </c:pt>
                <c:pt idx="4">
                  <c:v>216</c:v>
                </c:pt>
                <c:pt idx="5">
                  <c:v>196</c:v>
                </c:pt>
                <c:pt idx="6">
                  <c:v>173</c:v>
                </c:pt>
                <c:pt idx="7">
                  <c:v>1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7A-9249-B1AB-CBBE0B897EC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823330864"/>
        <c:axId val="823247216"/>
      </c:barChart>
      <c:catAx>
        <c:axId val="823330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3247216"/>
        <c:crosses val="autoZero"/>
        <c:auto val="1"/>
        <c:lblAlgn val="ctr"/>
        <c:lblOffset val="100"/>
        <c:noMultiLvlLbl val="0"/>
      </c:catAx>
      <c:valAx>
        <c:axId val="8232472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3330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Product</a:t>
            </a:r>
            <a:r>
              <a:rPr lang="zh-CN" altLang="en-US" dirty="0"/>
              <a:t> </a:t>
            </a:r>
            <a:r>
              <a:rPr lang="en-US" altLang="zh-CN" dirty="0"/>
              <a:t>Category</a:t>
            </a:r>
            <a:r>
              <a:rPr lang="zh-CN" altLang="en-US" dirty="0"/>
              <a:t> </a:t>
            </a:r>
            <a:r>
              <a:rPr lang="en-US" altLang="zh-CN" dirty="0"/>
              <a:t>Stock</a:t>
            </a:r>
            <a:r>
              <a:rPr lang="zh-CN" altLang="en-US" dirty="0"/>
              <a:t> </a:t>
            </a:r>
            <a:r>
              <a:rPr lang="en-US" altLang="zh-CN" dirty="0"/>
              <a:t>Level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product_category_stock!$C$1</c:f>
              <c:strCache>
                <c:ptCount val="1"/>
                <c:pt idx="0">
                  <c:v>Stoc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oduct_category_stock!$A$2:$A$9</c:f>
              <c:strCache>
                <c:ptCount val="8"/>
                <c:pt idx="0">
                  <c:v>Produce</c:v>
                </c:pt>
                <c:pt idx="1">
                  <c:v>Meat/Poultry</c:v>
                </c:pt>
                <c:pt idx="2">
                  <c:v>Grains/Cereals</c:v>
                </c:pt>
                <c:pt idx="3">
                  <c:v>Confections</c:v>
                </c:pt>
                <c:pt idx="4">
                  <c:v>Dairy Products</c:v>
                </c:pt>
                <c:pt idx="5">
                  <c:v>Condiments</c:v>
                </c:pt>
                <c:pt idx="6">
                  <c:v>Beverages</c:v>
                </c:pt>
                <c:pt idx="7">
                  <c:v>Seafood</c:v>
                </c:pt>
              </c:strCache>
            </c:strRef>
          </c:cat>
          <c:val>
            <c:numRef>
              <c:f>product_category_stock!$C$2:$C$9</c:f>
              <c:numCache>
                <c:formatCode>General</c:formatCode>
                <c:ptCount val="8"/>
                <c:pt idx="0">
                  <c:v>100</c:v>
                </c:pt>
                <c:pt idx="1">
                  <c:v>165</c:v>
                </c:pt>
                <c:pt idx="2">
                  <c:v>308</c:v>
                </c:pt>
                <c:pt idx="3">
                  <c:v>386</c:v>
                </c:pt>
                <c:pt idx="4">
                  <c:v>393</c:v>
                </c:pt>
                <c:pt idx="5">
                  <c:v>507</c:v>
                </c:pt>
                <c:pt idx="6">
                  <c:v>559</c:v>
                </c:pt>
                <c:pt idx="7">
                  <c:v>7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27-6F46-82EC-5932CD587CF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863401744"/>
        <c:axId val="863403376"/>
      </c:barChart>
      <c:catAx>
        <c:axId val="8634017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3403376"/>
        <c:crosses val="autoZero"/>
        <c:auto val="1"/>
        <c:lblAlgn val="ctr"/>
        <c:lblOffset val="100"/>
        <c:noMultiLvlLbl val="0"/>
      </c:catAx>
      <c:valAx>
        <c:axId val="8634033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3401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Top</a:t>
            </a:r>
            <a:r>
              <a:rPr lang="zh-CN" altLang="en-US" baseline="0" dirty="0"/>
              <a:t> </a:t>
            </a:r>
            <a:r>
              <a:rPr lang="en-US" altLang="zh-CN" baseline="0" dirty="0"/>
              <a:t>10</a:t>
            </a:r>
            <a:r>
              <a:rPr lang="zh-CN" altLang="en-US" baseline="0" dirty="0"/>
              <a:t> </a:t>
            </a:r>
            <a:r>
              <a:rPr lang="en-US" altLang="zh-CN" baseline="0" dirty="0"/>
              <a:t>Best</a:t>
            </a:r>
            <a:r>
              <a:rPr lang="zh-CN" altLang="en-US" baseline="0" dirty="0"/>
              <a:t> </a:t>
            </a:r>
            <a:r>
              <a:rPr lang="en-US" altLang="zh-CN" baseline="0" dirty="0"/>
              <a:t>Sell</a:t>
            </a:r>
            <a:r>
              <a:rPr lang="zh-CN" altLang="en-US" baseline="0" dirty="0"/>
              <a:t> </a:t>
            </a:r>
            <a:r>
              <a:rPr lang="en-US" altLang="zh-CN" baseline="0" dirty="0"/>
              <a:t>Product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best_sales_products!$C$1</c:f>
              <c:strCache>
                <c:ptCount val="1"/>
                <c:pt idx="0">
                  <c:v>OrderAmou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est_sales_products!$B$2:$B$11</c:f>
              <c:strCache>
                <c:ptCount val="10"/>
                <c:pt idx="0">
                  <c:v>Camembert Pierrot</c:v>
                </c:pt>
                <c:pt idx="1">
                  <c:v>Raclette Courdavault</c:v>
                </c:pt>
                <c:pt idx="2">
                  <c:v>Gorgonzola Telino</c:v>
                </c:pt>
                <c:pt idx="3">
                  <c:v>Gnocchi di nonna Alice</c:v>
                </c:pt>
                <c:pt idx="4">
                  <c:v>Pavlova</c:v>
                </c:pt>
                <c:pt idx="5">
                  <c:v>Rh�nbr�u Klosterbier</c:v>
                </c:pt>
                <c:pt idx="6">
                  <c:v>Guaran� Fant�stica</c:v>
                </c:pt>
                <c:pt idx="7">
                  <c:v>Boston Crab Meat</c:v>
                </c:pt>
                <c:pt idx="8">
                  <c:v>Tarte au sucre</c:v>
                </c:pt>
                <c:pt idx="9">
                  <c:v>Chang</c:v>
                </c:pt>
              </c:strCache>
            </c:strRef>
          </c:cat>
          <c:val>
            <c:numRef>
              <c:f>best_sales_products!$C$2:$C$11</c:f>
              <c:numCache>
                <c:formatCode>General</c:formatCode>
                <c:ptCount val="10"/>
                <c:pt idx="0">
                  <c:v>1577</c:v>
                </c:pt>
                <c:pt idx="1">
                  <c:v>1496</c:v>
                </c:pt>
                <c:pt idx="2">
                  <c:v>1397</c:v>
                </c:pt>
                <c:pt idx="3">
                  <c:v>1263</c:v>
                </c:pt>
                <c:pt idx="4">
                  <c:v>1158</c:v>
                </c:pt>
                <c:pt idx="5">
                  <c:v>1155</c:v>
                </c:pt>
                <c:pt idx="6">
                  <c:v>1125</c:v>
                </c:pt>
                <c:pt idx="7">
                  <c:v>1103</c:v>
                </c:pt>
                <c:pt idx="8">
                  <c:v>1083</c:v>
                </c:pt>
                <c:pt idx="9">
                  <c:v>10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A9-684E-8C61-E5E9A3EDF14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800899584"/>
        <c:axId val="800901216"/>
      </c:barChart>
      <c:catAx>
        <c:axId val="8008995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0901216"/>
        <c:crosses val="autoZero"/>
        <c:auto val="1"/>
        <c:lblAlgn val="ctr"/>
        <c:lblOffset val="100"/>
        <c:noMultiLvlLbl val="0"/>
      </c:catAx>
      <c:valAx>
        <c:axId val="8009012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08995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xported_data.xlsx]sales_trend!PivotTable3</c:name>
    <c:fmtId val="3"/>
  </c:pivotSource>
  <c:chart>
    <c:title>
      <c:tx>
        <c:rich>
          <a:bodyPr rot="0" spcFirstLastPara="1" vertOverflow="ellipsis" vert="horz" wrap="square" anchor="ctr" anchorCtr="1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Product</a:t>
            </a:r>
            <a:r>
              <a:rPr lang="zh-CN" altLang="en-US" dirty="0"/>
              <a:t> </a:t>
            </a:r>
            <a:r>
              <a:rPr lang="en-US" altLang="zh-CN" dirty="0"/>
              <a:t>Categories</a:t>
            </a:r>
            <a:r>
              <a:rPr lang="zh-CN" altLang="en-US" dirty="0"/>
              <a:t> </a:t>
            </a:r>
            <a:r>
              <a:rPr lang="en-US" altLang="zh-CN" dirty="0"/>
              <a:t>Quarterly</a:t>
            </a:r>
            <a:r>
              <a:rPr lang="zh-CN" altLang="en-US" dirty="0"/>
              <a:t> </a:t>
            </a:r>
            <a:r>
              <a:rPr lang="en-US" altLang="zh-CN" dirty="0"/>
              <a:t>Sales</a:t>
            </a:r>
            <a:r>
              <a:rPr lang="zh-CN" altLang="en-US" dirty="0"/>
              <a:t> </a:t>
            </a:r>
            <a:r>
              <a:rPr lang="en-US" altLang="zh-CN" dirty="0"/>
              <a:t>Trend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400" b="0" i="0" u="none" strike="noStrike" kern="1200" spc="0" baseline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sales_trend!$G$9:$G$10</c:f>
              <c:strCache>
                <c:ptCount val="1"/>
                <c:pt idx="0">
                  <c:v>Beverag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multiLvlStrRef>
              <c:f>sales_trend!$F$11:$F$22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sales_trend!$G$11:$G$22</c:f>
              <c:numCache>
                <c:formatCode>General</c:formatCode>
                <c:ptCount val="8"/>
                <c:pt idx="0">
                  <c:v>13137.779999999999</c:v>
                </c:pt>
                <c:pt idx="1">
                  <c:v>34781.22</c:v>
                </c:pt>
                <c:pt idx="2">
                  <c:v>35386.879999999997</c:v>
                </c:pt>
                <c:pt idx="3">
                  <c:v>25982.024999999998</c:v>
                </c:pt>
                <c:pt idx="4">
                  <c:v>19452.850000000002</c:v>
                </c:pt>
                <c:pt idx="5">
                  <c:v>23102.55</c:v>
                </c:pt>
                <c:pt idx="6">
                  <c:v>89606.125</c:v>
                </c:pt>
                <c:pt idx="7">
                  <c:v>26418.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FC8-5141-BC60-2BFF865F72B0}"/>
            </c:ext>
          </c:extLst>
        </c:ser>
        <c:ser>
          <c:idx val="1"/>
          <c:order val="1"/>
          <c:tx>
            <c:strRef>
              <c:f>sales_trend!$H$9:$H$10</c:f>
              <c:strCache>
                <c:ptCount val="1"/>
                <c:pt idx="0">
                  <c:v>Condiment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multiLvlStrRef>
              <c:f>sales_trend!$F$11:$F$22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sales_trend!$H$11:$H$22</c:f>
              <c:numCache>
                <c:formatCode>General</c:formatCode>
                <c:ptCount val="8"/>
                <c:pt idx="0">
                  <c:v>5988.4</c:v>
                </c:pt>
                <c:pt idx="1">
                  <c:v>11911.985000000001</c:v>
                </c:pt>
                <c:pt idx="2">
                  <c:v>13026.07</c:v>
                </c:pt>
                <c:pt idx="3">
                  <c:v>12852.695</c:v>
                </c:pt>
                <c:pt idx="4">
                  <c:v>13315.0375</c:v>
                </c:pt>
                <c:pt idx="5">
                  <c:v>16174.787500000002</c:v>
                </c:pt>
                <c:pt idx="6">
                  <c:v>21805.135000000002</c:v>
                </c:pt>
                <c:pt idx="7">
                  <c:v>10972.9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FC8-5141-BC60-2BFF865F72B0}"/>
            </c:ext>
          </c:extLst>
        </c:ser>
        <c:ser>
          <c:idx val="2"/>
          <c:order val="2"/>
          <c:tx>
            <c:strRef>
              <c:f>sales_trend!$I$9:$I$10</c:f>
              <c:strCache>
                <c:ptCount val="1"/>
                <c:pt idx="0">
                  <c:v>Confection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multiLvlStrRef>
              <c:f>sales_trend!$F$11:$F$22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sales_trend!$I$11:$I$22</c:f>
              <c:numCache>
                <c:formatCode>General</c:formatCode>
                <c:ptCount val="8"/>
                <c:pt idx="0">
                  <c:v>17118.924999999999</c:v>
                </c:pt>
                <c:pt idx="1">
                  <c:v>12566.625</c:v>
                </c:pt>
                <c:pt idx="2">
                  <c:v>19316.915000000001</c:v>
                </c:pt>
                <c:pt idx="3">
                  <c:v>21403.322500000002</c:v>
                </c:pt>
                <c:pt idx="4">
                  <c:v>20276.817500000001</c:v>
                </c:pt>
                <c:pt idx="5">
                  <c:v>21660.695500000002</c:v>
                </c:pt>
                <c:pt idx="6">
                  <c:v>43785.796499999997</c:v>
                </c:pt>
                <c:pt idx="7">
                  <c:v>11228.128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FC8-5141-BC60-2BFF865F72B0}"/>
            </c:ext>
          </c:extLst>
        </c:ser>
        <c:ser>
          <c:idx val="3"/>
          <c:order val="3"/>
          <c:tx>
            <c:strRef>
              <c:f>sales_trend!$J$9:$J$10</c:f>
              <c:strCache>
                <c:ptCount val="1"/>
                <c:pt idx="0">
                  <c:v>Dairy Product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multiLvlStrRef>
              <c:f>sales_trend!$F$11:$F$22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sales_trend!$J$11:$J$22</c:f>
              <c:numCache>
                <c:formatCode>General</c:formatCode>
                <c:ptCount val="8"/>
                <c:pt idx="0">
                  <c:v>15457.640000000001</c:v>
                </c:pt>
                <c:pt idx="1">
                  <c:v>25522.81</c:v>
                </c:pt>
                <c:pt idx="2">
                  <c:v>24380.14</c:v>
                </c:pt>
                <c:pt idx="3">
                  <c:v>24666.974999999999</c:v>
                </c:pt>
                <c:pt idx="4">
                  <c:v>30634.2</c:v>
                </c:pt>
                <c:pt idx="5">
                  <c:v>35706.324999999997</c:v>
                </c:pt>
                <c:pt idx="6">
                  <c:v>42831.175000000003</c:v>
                </c:pt>
                <c:pt idx="7">
                  <c:v>35308.02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FC8-5141-BC60-2BFF865F72B0}"/>
            </c:ext>
          </c:extLst>
        </c:ser>
        <c:ser>
          <c:idx val="4"/>
          <c:order val="4"/>
          <c:tx>
            <c:strRef>
              <c:f>sales_trend!$K$9:$K$10</c:f>
              <c:strCache>
                <c:ptCount val="1"/>
                <c:pt idx="0">
                  <c:v>Grains/Cereals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multiLvlStrRef>
              <c:f>sales_trend!$F$11:$F$22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sales_trend!$K$11:$K$22</c:f>
              <c:numCache>
                <c:formatCode>General</c:formatCode>
                <c:ptCount val="8"/>
                <c:pt idx="0">
                  <c:v>2346.66</c:v>
                </c:pt>
                <c:pt idx="1">
                  <c:v>7161.26</c:v>
                </c:pt>
                <c:pt idx="2">
                  <c:v>12409.1</c:v>
                </c:pt>
                <c:pt idx="3">
                  <c:v>15157.5</c:v>
                </c:pt>
                <c:pt idx="4">
                  <c:v>15244.525</c:v>
                </c:pt>
                <c:pt idx="5">
                  <c:v>14060.7</c:v>
                </c:pt>
                <c:pt idx="6">
                  <c:v>19408.237500000003</c:v>
                </c:pt>
                <c:pt idx="7">
                  <c:v>9956.604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C8-5141-BC60-2BFF865F72B0}"/>
            </c:ext>
          </c:extLst>
        </c:ser>
        <c:ser>
          <c:idx val="5"/>
          <c:order val="5"/>
          <c:tx>
            <c:strRef>
              <c:f>sales_trend!$L$9:$L$10</c:f>
              <c:strCache>
                <c:ptCount val="1"/>
                <c:pt idx="0">
                  <c:v>Meat/Poultry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multiLvlStrRef>
              <c:f>sales_trend!$F$11:$F$22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sales_trend!$L$11:$L$22</c:f>
              <c:numCache>
                <c:formatCode>General</c:formatCode>
                <c:ptCount val="8"/>
                <c:pt idx="0">
                  <c:v>10448.379999999999</c:v>
                </c:pt>
                <c:pt idx="1">
                  <c:v>18365.28</c:v>
                </c:pt>
                <c:pt idx="2">
                  <c:v>17402.350000000002</c:v>
                </c:pt>
                <c:pt idx="3">
                  <c:v>14932.45</c:v>
                </c:pt>
                <c:pt idx="4">
                  <c:v>20640.510000000002</c:v>
                </c:pt>
                <c:pt idx="5">
                  <c:v>27999.798000000003</c:v>
                </c:pt>
                <c:pt idx="6">
                  <c:v>30929.181499999999</c:v>
                </c:pt>
                <c:pt idx="7">
                  <c:v>22304.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FC8-5141-BC60-2BFF865F72B0}"/>
            </c:ext>
          </c:extLst>
        </c:ser>
        <c:ser>
          <c:idx val="6"/>
          <c:order val="6"/>
          <c:tx>
            <c:strRef>
              <c:f>sales_trend!$M$9:$M$10</c:f>
              <c:strCache>
                <c:ptCount val="1"/>
                <c:pt idx="0">
                  <c:v>Produce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multiLvlStrRef>
              <c:f>sales_trend!$F$11:$F$22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sales_trend!$M$11:$M$22</c:f>
              <c:numCache>
                <c:formatCode>General</c:formatCode>
                <c:ptCount val="8"/>
                <c:pt idx="0">
                  <c:v>5837.92</c:v>
                </c:pt>
                <c:pt idx="1">
                  <c:v>8047.8600000000006</c:v>
                </c:pt>
                <c:pt idx="2">
                  <c:v>9061.32</c:v>
                </c:pt>
                <c:pt idx="3">
                  <c:v>14817.16</c:v>
                </c:pt>
                <c:pt idx="4">
                  <c:v>8761.2749999999996</c:v>
                </c:pt>
                <c:pt idx="5">
                  <c:v>22301.012499999997</c:v>
                </c:pt>
                <c:pt idx="6">
                  <c:v>15730</c:v>
                </c:pt>
                <c:pt idx="7">
                  <c:v>15428.0324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FC8-5141-BC60-2BFF865F72B0}"/>
            </c:ext>
          </c:extLst>
        </c:ser>
        <c:ser>
          <c:idx val="7"/>
          <c:order val="7"/>
          <c:tx>
            <c:strRef>
              <c:f>sales_trend!$N$9:$N$10</c:f>
              <c:strCache>
                <c:ptCount val="1"/>
                <c:pt idx="0">
                  <c:v>Seafood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multiLvlStrRef>
              <c:f>sales_trend!$F$11:$F$22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sales_trend!$N$11:$N$22</c:f>
              <c:numCache>
                <c:formatCode>General</c:formatCode>
                <c:ptCount val="8"/>
                <c:pt idx="0">
                  <c:v>9392.8649999999998</c:v>
                </c:pt>
                <c:pt idx="1">
                  <c:v>9998.36</c:v>
                </c:pt>
                <c:pt idx="2">
                  <c:v>7306.15</c:v>
                </c:pt>
                <c:pt idx="3">
                  <c:v>13364.9175</c:v>
                </c:pt>
                <c:pt idx="4">
                  <c:v>25612.555</c:v>
                </c:pt>
                <c:pt idx="5">
                  <c:v>20675.595000000001</c:v>
                </c:pt>
                <c:pt idx="6">
                  <c:v>34395.902499999997</c:v>
                </c:pt>
                <c:pt idx="7">
                  <c:v>10515.39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FC8-5141-BC60-2BFF865F72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58000768"/>
        <c:axId val="858002400"/>
      </c:lineChart>
      <c:catAx>
        <c:axId val="858000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8002400"/>
        <c:crosses val="autoZero"/>
        <c:auto val="1"/>
        <c:lblAlgn val="ctr"/>
        <c:lblOffset val="100"/>
        <c:noMultiLvlLbl val="0"/>
      </c:catAx>
      <c:valAx>
        <c:axId val="8580024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8000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Shape 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Aft>
                <a:spcPts val="0"/>
              </a:spcAft>
            </a:pPr>
            <a:endParaRPr lang="en" sz="1100" dirty="0"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487378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Shape 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Aft>
                <a:spcPts val="0"/>
              </a:spcAft>
            </a:pPr>
            <a:endParaRPr lang="en" sz="1100" dirty="0"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8169567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Shape 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Aft>
                <a:spcPts val="0"/>
              </a:spcAft>
            </a:pPr>
            <a:endParaRPr lang="en" sz="1100" dirty="0"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8008375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Shape 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209132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5200"/>
            </a:lvl1pPr>
            <a:lvl2pPr lvl="1" algn="ctr">
              <a:spcBef>
                <a:spcPts val="0"/>
              </a:spcBef>
              <a:buSzPct val="100000"/>
              <a:defRPr sz="5200"/>
            </a:lvl2pPr>
            <a:lvl3pPr lvl="2" algn="ctr">
              <a:spcBef>
                <a:spcPts val="0"/>
              </a:spcBef>
              <a:buSzPct val="100000"/>
              <a:defRPr sz="5200"/>
            </a:lvl3pPr>
            <a:lvl4pPr lvl="3" algn="ctr">
              <a:spcBef>
                <a:spcPts val="0"/>
              </a:spcBef>
              <a:buSzPct val="100000"/>
              <a:defRPr sz="5200"/>
            </a:lvl4pPr>
            <a:lvl5pPr lvl="4" algn="ctr">
              <a:spcBef>
                <a:spcPts val="0"/>
              </a:spcBef>
              <a:buSzPct val="100000"/>
              <a:defRPr sz="5200"/>
            </a:lvl5pPr>
            <a:lvl6pPr lvl="5" algn="ctr">
              <a:spcBef>
                <a:spcPts val="0"/>
              </a:spcBef>
              <a:buSzPct val="100000"/>
              <a:defRPr sz="5200"/>
            </a:lvl6pPr>
            <a:lvl7pPr lvl="6" algn="ctr">
              <a:spcBef>
                <a:spcPts val="0"/>
              </a:spcBef>
              <a:buSzPct val="100000"/>
              <a:defRPr sz="5200"/>
            </a:lvl7pPr>
            <a:lvl8pPr lvl="7" algn="ctr">
              <a:spcBef>
                <a:spcPts val="0"/>
              </a:spcBef>
              <a:buSzPct val="100000"/>
              <a:defRPr sz="5200"/>
            </a:lvl8pPr>
            <a:lvl9pPr lvl="8" algn="ctr">
              <a:spcBef>
                <a:spcPts val="0"/>
              </a:spcBef>
              <a:buSzPct val="100000"/>
              <a:defRPr sz="5200"/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12000"/>
            </a:lvl1pPr>
            <a:lvl2pPr lvl="1" algn="ctr">
              <a:spcBef>
                <a:spcPts val="0"/>
              </a:spcBef>
              <a:buSzPct val="100000"/>
              <a:defRPr sz="12000"/>
            </a:lvl2pPr>
            <a:lvl3pPr lvl="2" algn="ctr">
              <a:spcBef>
                <a:spcPts val="0"/>
              </a:spcBef>
              <a:buSzPct val="100000"/>
              <a:defRPr sz="12000"/>
            </a:lvl3pPr>
            <a:lvl4pPr lvl="3" algn="ctr">
              <a:spcBef>
                <a:spcPts val="0"/>
              </a:spcBef>
              <a:buSzPct val="100000"/>
              <a:defRPr sz="12000"/>
            </a:lvl4pPr>
            <a:lvl5pPr lvl="4" algn="ctr">
              <a:spcBef>
                <a:spcPts val="0"/>
              </a:spcBef>
              <a:buSzPct val="100000"/>
              <a:defRPr sz="12000"/>
            </a:lvl5pPr>
            <a:lvl6pPr lvl="5" algn="ctr">
              <a:spcBef>
                <a:spcPts val="0"/>
              </a:spcBef>
              <a:buSzPct val="100000"/>
              <a:defRPr sz="12000"/>
            </a:lvl6pPr>
            <a:lvl7pPr lvl="6" algn="ctr">
              <a:spcBef>
                <a:spcPts val="0"/>
              </a:spcBef>
              <a:buSzPct val="100000"/>
              <a:defRPr sz="12000"/>
            </a:lvl7pPr>
            <a:lvl8pPr lvl="7" algn="ctr">
              <a:spcBef>
                <a:spcPts val="0"/>
              </a:spcBef>
              <a:buSzPct val="100000"/>
              <a:defRPr sz="12000"/>
            </a:lvl8pPr>
            <a:lvl9pPr lvl="8" algn="ctr">
              <a:spcBef>
                <a:spcPts val="0"/>
              </a:spcBef>
              <a:buSzPct val="100000"/>
              <a:defRPr sz="120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spcBef>
                <a:spcPts val="0"/>
              </a:spcBef>
              <a:defRPr/>
            </a:lvl1pPr>
            <a:lvl2pPr lvl="1" algn="ctr">
              <a:spcBef>
                <a:spcPts val="0"/>
              </a:spcBef>
              <a:defRPr/>
            </a:lvl2pPr>
            <a:lvl3pPr lvl="2" algn="ctr">
              <a:spcBef>
                <a:spcPts val="0"/>
              </a:spcBef>
              <a:defRPr/>
            </a:lvl3pPr>
            <a:lvl4pPr lvl="3" algn="ctr">
              <a:spcBef>
                <a:spcPts val="0"/>
              </a:spcBef>
              <a:defRPr/>
            </a:lvl4pPr>
            <a:lvl5pPr lvl="4" algn="ctr">
              <a:spcBef>
                <a:spcPts val="0"/>
              </a:spcBef>
              <a:defRPr/>
            </a:lvl5pPr>
            <a:lvl6pPr lvl="5" algn="ctr">
              <a:spcBef>
                <a:spcPts val="0"/>
              </a:spcBef>
              <a:defRPr/>
            </a:lvl6pPr>
            <a:lvl7pPr lvl="6" algn="ctr">
              <a:spcBef>
                <a:spcPts val="0"/>
              </a:spcBef>
              <a:defRPr/>
            </a:lvl7pPr>
            <a:lvl8pPr lvl="7" algn="ctr">
              <a:spcBef>
                <a:spcPts val="0"/>
              </a:spcBef>
              <a:defRPr/>
            </a:lvl8pPr>
            <a:lvl9pPr lvl="8" algn="ctr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 algn="ctr">
              <a:spcBef>
                <a:spcPts val="0"/>
              </a:spcBef>
              <a:buSzPct val="100000"/>
              <a:defRPr sz="3600"/>
            </a:lvl1pPr>
            <a:lvl2pPr lvl="1" algn="ctr">
              <a:spcBef>
                <a:spcPts val="0"/>
              </a:spcBef>
              <a:buSzPct val="100000"/>
              <a:defRPr sz="3600"/>
            </a:lvl2pPr>
            <a:lvl3pPr lvl="2" algn="ctr">
              <a:spcBef>
                <a:spcPts val="0"/>
              </a:spcBef>
              <a:buSzPct val="100000"/>
              <a:defRPr sz="3600"/>
            </a:lvl3pPr>
            <a:lvl4pPr lvl="3" algn="ctr">
              <a:spcBef>
                <a:spcPts val="0"/>
              </a:spcBef>
              <a:buSzPct val="100000"/>
              <a:defRPr sz="3600"/>
            </a:lvl4pPr>
            <a:lvl5pPr lvl="4" algn="ctr">
              <a:spcBef>
                <a:spcPts val="0"/>
              </a:spcBef>
              <a:buSzPct val="100000"/>
              <a:defRPr sz="3600"/>
            </a:lvl5pPr>
            <a:lvl6pPr lvl="5" algn="ctr">
              <a:spcBef>
                <a:spcPts val="0"/>
              </a:spcBef>
              <a:buSzPct val="100000"/>
              <a:defRPr sz="3600"/>
            </a:lvl6pPr>
            <a:lvl7pPr lvl="6" algn="ctr">
              <a:spcBef>
                <a:spcPts val="0"/>
              </a:spcBef>
              <a:buSzPct val="100000"/>
              <a:defRPr sz="3600"/>
            </a:lvl7pPr>
            <a:lvl8pPr lvl="7" algn="ctr">
              <a:spcBef>
                <a:spcPts val="0"/>
              </a:spcBef>
              <a:buSzPct val="100000"/>
              <a:defRPr sz="3600"/>
            </a:lvl8pPr>
            <a:lvl9pPr lvl="8" algn="ctr">
              <a:spcBef>
                <a:spcPts val="0"/>
              </a:spcBef>
              <a:buSzPct val="100000"/>
              <a:defRPr sz="3600"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2400"/>
            </a:lvl1pPr>
            <a:lvl2pPr lvl="1">
              <a:spcBef>
                <a:spcPts val="0"/>
              </a:spcBef>
              <a:buSzPct val="100000"/>
              <a:defRPr sz="2400"/>
            </a:lvl2pPr>
            <a:lvl3pPr lvl="2">
              <a:spcBef>
                <a:spcPts val="0"/>
              </a:spcBef>
              <a:buSzPct val="100000"/>
              <a:defRPr sz="2400"/>
            </a:lvl3pPr>
            <a:lvl4pPr lvl="3">
              <a:spcBef>
                <a:spcPts val="0"/>
              </a:spcBef>
              <a:buSzPct val="100000"/>
              <a:defRPr sz="2400"/>
            </a:lvl4pPr>
            <a:lvl5pPr lvl="4">
              <a:spcBef>
                <a:spcPts val="0"/>
              </a:spcBef>
              <a:buSzPct val="100000"/>
              <a:defRPr sz="2400"/>
            </a:lvl5pPr>
            <a:lvl6pPr lvl="5">
              <a:spcBef>
                <a:spcPts val="0"/>
              </a:spcBef>
              <a:buSzPct val="100000"/>
              <a:defRPr sz="2400"/>
            </a:lvl6pPr>
            <a:lvl7pPr lvl="6">
              <a:spcBef>
                <a:spcPts val="0"/>
              </a:spcBef>
              <a:buSzPct val="100000"/>
              <a:defRPr sz="2400"/>
            </a:lvl7pPr>
            <a:lvl8pPr lvl="7">
              <a:spcBef>
                <a:spcPts val="0"/>
              </a:spcBef>
              <a:buSzPct val="100000"/>
              <a:defRPr sz="2400"/>
            </a:lvl8pPr>
            <a:lvl9pPr lvl="8">
              <a:spcBef>
                <a:spcPts val="0"/>
              </a:spcBef>
              <a:buSzPct val="100000"/>
              <a:defRPr sz="2400"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2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buSzPct val="100000"/>
              <a:defRPr sz="4800"/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4200"/>
            </a:lvl1pPr>
            <a:lvl2pPr lvl="1" algn="ctr">
              <a:spcBef>
                <a:spcPts val="0"/>
              </a:spcBef>
              <a:buSzPct val="100000"/>
              <a:defRPr sz="4200"/>
            </a:lvl2pPr>
            <a:lvl3pPr lvl="2" algn="ctr">
              <a:spcBef>
                <a:spcPts val="0"/>
              </a:spcBef>
              <a:buSzPct val="100000"/>
              <a:defRPr sz="4200"/>
            </a:lvl3pPr>
            <a:lvl4pPr lvl="3" algn="ctr">
              <a:spcBef>
                <a:spcPts val="0"/>
              </a:spcBef>
              <a:buSzPct val="100000"/>
              <a:defRPr sz="4200"/>
            </a:lvl4pPr>
            <a:lvl5pPr lvl="4" algn="ctr">
              <a:spcBef>
                <a:spcPts val="0"/>
              </a:spcBef>
              <a:buSzPct val="100000"/>
              <a:defRPr sz="4200"/>
            </a:lvl5pPr>
            <a:lvl6pPr lvl="5" algn="ctr">
              <a:spcBef>
                <a:spcPts val="0"/>
              </a:spcBef>
              <a:buSzPct val="100000"/>
              <a:defRPr sz="4200"/>
            </a:lvl6pPr>
            <a:lvl7pPr lvl="6" algn="ctr">
              <a:spcBef>
                <a:spcPts val="0"/>
              </a:spcBef>
              <a:buSzPct val="100000"/>
              <a:defRPr sz="4200"/>
            </a:lvl7pPr>
            <a:lvl8pPr lvl="7" algn="ctr">
              <a:spcBef>
                <a:spcPts val="0"/>
              </a:spcBef>
              <a:buSzPct val="100000"/>
              <a:defRPr sz="4200"/>
            </a:lvl8pPr>
            <a:lvl9pPr lvl="8" algn="ctr">
              <a:spcBef>
                <a:spcPts val="0"/>
              </a:spcBef>
              <a:buSzPct val="100000"/>
              <a:defRPr sz="4200"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6945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15" imgW="473" imgH="476" progId="TCLayout.ActiveDocument.1">
                  <p:embed/>
                </p:oleObj>
              </mc:Choice>
              <mc:Fallback>
                <p:oleObj name="think-cell Slide" r:id="rId1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defRPr sz="1800">
                <a:solidFill>
                  <a:schemeClr val="dk2"/>
                </a:solidFill>
              </a:defRPr>
            </a:lvl1pPr>
            <a:lvl2pPr lvl="1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2pPr>
            <a:lvl3pPr lvl="2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3pPr>
            <a:lvl4pPr lvl="3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4pPr>
            <a:lvl5pPr lvl="4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5pPr>
            <a:lvl6pPr lvl="5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6pPr>
            <a:lvl7pPr lvl="6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7pPr>
            <a:lvl8pPr lvl="7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8pPr>
            <a:lvl9pPr lvl="8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r">
              <a:spcBef>
                <a:spcPts val="0"/>
              </a:spcBef>
              <a:buNone/>
            </a:pPr>
            <a:fld id="{00000000-1234-1234-1234-123412341234}" type="slidenum">
              <a:rPr lang="en" sz="1000">
                <a:solidFill>
                  <a:schemeClr val="dk2"/>
                </a:solidFill>
              </a:rPr>
              <a:t>‹#›</a:t>
            </a:fld>
            <a:endParaRPr lang="en" sz="1000">
              <a:solidFill>
                <a:schemeClr val="dk2"/>
              </a:solidFill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Shape 59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/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将产品类型的销量由低到高进行排序，销量最好的产品类型为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Beverages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，总销量达到了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404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，是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Produce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销量的将近三倍</a:t>
            </a:r>
            <a:endParaRPr lang="en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Shape 60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dirty="0"/>
          </a:p>
        </p:txBody>
      </p:sp>
      <p:sp>
        <p:nvSpPr>
          <p:cNvPr id="61" name="Shape 6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产品 </a:t>
            </a:r>
            <a:r>
              <a:rPr lang="en-US" altLang="zh-CN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– </a:t>
            </a: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每个产品类型的销量</a:t>
            </a:r>
            <a:endParaRPr lang="en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230B9DE-DCD6-5441-9100-E986E0F9FF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6653681"/>
              </p:ext>
            </p:extLst>
          </p:nvPr>
        </p:nvGraphicFramePr>
        <p:xfrm>
          <a:off x="354301" y="1418449"/>
          <a:ext cx="4550700" cy="3072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5957487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Shape 59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/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将产品类型的库存量由高到低进行排序，从图表中可以看出，目前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Seafood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产品的库存料最高，达到了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701</a:t>
            </a:r>
            <a:endParaRPr lang="en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Shape 60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dirty="0"/>
          </a:p>
        </p:txBody>
      </p:sp>
      <p:sp>
        <p:nvSpPr>
          <p:cNvPr id="61" name="Shape 6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产品 </a:t>
            </a:r>
            <a:r>
              <a:rPr lang="en-US" altLang="zh-CN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– </a:t>
            </a: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每个产品类型的库存量</a:t>
            </a:r>
            <a:endParaRPr lang="en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AD0E20B-82C4-934F-8684-4CBFB259286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1502514"/>
              </p:ext>
            </p:extLst>
          </p:nvPr>
        </p:nvGraphicFramePr>
        <p:xfrm>
          <a:off x="354301" y="1418449"/>
          <a:ext cx="4550700" cy="3072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97689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Shape 59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/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将产品销量由高到低排序，可以看到销量最好的产品为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Camembert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Pierrot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，整体销量为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1577</a:t>
            </a:r>
            <a:endParaRPr lang="en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Shape 60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dirty="0"/>
          </a:p>
        </p:txBody>
      </p:sp>
      <p:sp>
        <p:nvSpPr>
          <p:cNvPr id="61" name="Shape 6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产品 </a:t>
            </a:r>
            <a:r>
              <a:rPr lang="en-US" altLang="zh-CN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– </a:t>
            </a: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销量前十的产品</a:t>
            </a:r>
            <a:endParaRPr lang="en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9555B20-DD42-E041-B016-0FF985C92D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2719986"/>
              </p:ext>
            </p:extLst>
          </p:nvPr>
        </p:nvGraphicFramePr>
        <p:xfrm>
          <a:off x="354300" y="1418449"/>
          <a:ext cx="4550700" cy="3072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091394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9742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Shape 59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/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从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2014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，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2015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及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2016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季度各产品类型的销售趋势上来看，各产品类型销量均存在波动趋势，但仍呈现一定增长。同时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Beverages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在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2016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第二季度出现大幅度销量提升，当季度销量达到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90000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美元</a:t>
            </a:r>
            <a:endParaRPr lang="en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Shape 60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dirty="0"/>
          </a:p>
        </p:txBody>
      </p:sp>
      <p:sp>
        <p:nvSpPr>
          <p:cNvPr id="61" name="Shape 6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产品 </a:t>
            </a:r>
            <a:r>
              <a:rPr lang="en-US" altLang="zh-CN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– </a:t>
            </a: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产品类型季度销量变化</a:t>
            </a:r>
            <a:endParaRPr lang="en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DEE5AC2-2AA9-CF4C-BCEC-AB5898D574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1346931"/>
              </p:ext>
            </p:extLst>
          </p:nvPr>
        </p:nvGraphicFramePr>
        <p:xfrm>
          <a:off x="354301" y="1418450"/>
          <a:ext cx="4550700" cy="307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076647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-light-2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</TotalTime>
  <Words>181</Words>
  <Application>Microsoft Macintosh PowerPoint</Application>
  <PresentationFormat>On-screen Show (16:9)</PresentationFormat>
  <Paragraphs>12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Open Sans</vt:lpstr>
      <vt:lpstr>Arial</vt:lpstr>
      <vt:lpstr>simple-light-2</vt:lpstr>
      <vt:lpstr>think-cell Slide</vt:lpstr>
      <vt:lpstr>产品 – 每个产品类型的销量</vt:lpstr>
      <vt:lpstr>产品 – 每个产品类型的库存量</vt:lpstr>
      <vt:lpstr>产品 – 销量前十的产品</vt:lpstr>
      <vt:lpstr>产品 – 产品类型季度销量变化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i, Keyu (133)</dc:creator>
  <cp:lastModifiedBy>Bai Keyu</cp:lastModifiedBy>
  <cp:revision>25</cp:revision>
  <dcterms:modified xsi:type="dcterms:W3CDTF">2019-08-30T16:20:29Z</dcterms:modified>
</cp:coreProperties>
</file>